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7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7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">
            <a:extLst>
              <a:ext uri="{FF2B5EF4-FFF2-40B4-BE49-F238E27FC236}">
                <a16:creationId xmlns:a16="http://schemas.microsoft.com/office/drawing/2014/main" id="{21E05028-C747-4425-9049-65E2B2CFDFDA}"/>
              </a:ext>
            </a:extLst>
          </p:cNvPr>
          <p:cNvGrpSpPr>
            <a:grpSpLocks/>
          </p:cNvGrpSpPr>
          <p:nvPr/>
        </p:nvGrpSpPr>
        <p:grpSpPr bwMode="auto">
          <a:xfrm>
            <a:off x="666283" y="1701825"/>
            <a:ext cx="7991475" cy="4127500"/>
            <a:chOff x="647700" y="1908175"/>
            <a:chExt cx="7991475" cy="3938588"/>
          </a:xfrm>
        </p:grpSpPr>
        <p:sp>
          <p:nvSpPr>
            <p:cNvPr id="19" name="Rechteck 3">
              <a:extLst>
                <a:ext uri="{FF2B5EF4-FFF2-40B4-BE49-F238E27FC236}">
                  <a16:creationId xmlns:a16="http://schemas.microsoft.com/office/drawing/2014/main" id="{00978DAE-854B-4863-AC72-FD2E9362DA0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20" name="Rechteck 4">
              <a:extLst>
                <a:ext uri="{FF2B5EF4-FFF2-40B4-BE49-F238E27FC236}">
                  <a16:creationId xmlns:a16="http://schemas.microsoft.com/office/drawing/2014/main" id="{510F5D6B-63D9-4362-9357-ADF08F44583E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hteck 11">
              <a:extLst>
                <a:ext uri="{FF2B5EF4-FFF2-40B4-BE49-F238E27FC236}">
                  <a16:creationId xmlns:a16="http://schemas.microsoft.com/office/drawing/2014/main" id="{0F270003-6885-4132-9DEA-14268AE8B182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2" name="Rechteck 12">
              <a:extLst>
                <a:ext uri="{FF2B5EF4-FFF2-40B4-BE49-F238E27FC236}">
                  <a16:creationId xmlns:a16="http://schemas.microsoft.com/office/drawing/2014/main" id="{56B29423-F5DA-452E-A85C-73804D6A274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dirty="0"/>
              <a:t>Réduisez les coûts de maintenance et garantissez le rendement des équipement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fr-FR" altLang="fr-FR" dirty="0"/>
              <a:t>Nouveau collecteur supérieur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16223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Durée de vie du joint de 6000h au lieu de 3000h actuellemen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Réduction de l'usure des joints de produi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Efficacité accrue en réduisant les arrêts de maintenanc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44846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La nouvelle conception du collecteur supérieur permet de réduire l'intervalle de temps de maintenance et de réduire les temps d'arrêt de la machine; la durabilité des joints est augmenté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Les billes du roulement sont lubrifiées par un graisseur pour optimiser leur fonctionnement et allonger leur durée de vie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01D4F1B-6619-4181-B702-E15A9DE6CEE2}"/>
              </a:ext>
            </a:extLst>
          </p:cNvPr>
          <p:cNvSpPr txBox="1">
            <a:spLocks/>
          </p:cNvSpPr>
          <p:nvPr/>
        </p:nvSpPr>
        <p:spPr bwMode="auto">
          <a:xfrm>
            <a:off x="654843" y="587315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Maintenance, Rendemen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fr-FR" sz="800" dirty="0">
                <a:solidFill>
                  <a:srgbClr val="000000"/>
                </a:solidFill>
              </a:rPr>
              <a:t>remplisseuse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Europa WM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SF017</a:t>
            </a:r>
          </a:p>
        </p:txBody>
      </p:sp>
      <p:pic>
        <p:nvPicPr>
          <p:cNvPr id="24" name="Picture 23" descr="sf017 assemply render (1)">
            <a:extLst>
              <a:ext uri="{FF2B5EF4-FFF2-40B4-BE49-F238E27FC236}">
                <a16:creationId xmlns:a16="http://schemas.microsoft.com/office/drawing/2014/main" id="{296930FA-C9BB-4487-8A2A-3BB13CF3FC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46186" y="3674129"/>
            <a:ext cx="1055824" cy="20691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7863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2</TotalTime>
  <Words>97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Réduisez les coûts de maintenance et garantissez le rendement des équipemen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8</cp:revision>
  <dcterms:created xsi:type="dcterms:W3CDTF">2018-02-10T17:04:39Z</dcterms:created>
  <dcterms:modified xsi:type="dcterms:W3CDTF">2021-03-07T10:4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